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35"/>
  </p:notesMasterIdLst>
  <p:handoutMasterIdLst>
    <p:handoutMasterId r:id="rId36"/>
  </p:handoutMasterIdLst>
  <p:sldIdLst>
    <p:sldId id="418" r:id="rId24"/>
    <p:sldId id="518" r:id="rId25"/>
    <p:sldId id="516" r:id="rId26"/>
    <p:sldId id="515" r:id="rId27"/>
    <p:sldId id="519" r:id="rId28"/>
    <p:sldId id="524" r:id="rId29"/>
    <p:sldId id="521" r:id="rId30"/>
    <p:sldId id="522" r:id="rId31"/>
    <p:sldId id="525" r:id="rId32"/>
    <p:sldId id="523" r:id="rId33"/>
    <p:sldId id="517" r:id="rId34"/>
  </p:sldIdLst>
  <p:sldSz cx="9144000" cy="5143500" type="screen16x9"/>
  <p:notesSz cx="6883400" cy="9906000"/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00D318"/>
    <a:srgbClr val="FFFF00"/>
    <a:srgbClr val="4D4E50"/>
    <a:srgbClr val="FF6D00"/>
    <a:srgbClr val="A02BFF"/>
    <a:srgbClr val="00CEFF"/>
    <a:srgbClr val="EA288C"/>
    <a:srgbClr val="BB0F9A"/>
    <a:srgbClr val="FDFD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606" autoAdjust="0"/>
  </p:normalViewPr>
  <p:slideViewPr>
    <p:cSldViewPr snapToGrid="0" snapToObjects="1">
      <p:cViewPr varScale="1">
        <p:scale>
          <a:sx n="97" d="100"/>
          <a:sy n="97" d="100"/>
        </p:scale>
        <p:origin x="630" y="78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2/1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2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04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2/12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7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1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7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268A0-D2AB-4E43-9AE7-DC069DEAEF9F}" type="datetimeFigureOut">
              <a:rPr lang="pt-BR" smtClean="0"/>
              <a:t>12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45A58-EB92-4659-86A6-E21BC27740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7181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2088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19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  <p:sldLayoutId id="2147484154" r:id="rId10"/>
    <p:sldLayoutId id="2147484155" r:id="rId11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2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47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93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22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en-US" dirty="0" err="1"/>
              <a:t>Programa</a:t>
            </a:r>
            <a:r>
              <a:rPr lang="en-US" dirty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ore Team</a:t>
            </a:r>
            <a:br>
              <a:rPr lang="en-US" dirty="0" smtClean="0"/>
            </a:br>
            <a:r>
              <a:rPr lang="en-US" dirty="0" smtClean="0"/>
              <a:t>11/12/17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145769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cordo com 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cronograma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ivulgado pel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na fase de planejamento do Programa (Onda 0), não foi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templ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entre a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s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da da verba aprovada e não compromissada até o final de 2017, de acordo com os procedimentos financeiros da Companhia. Para mitigar o risco, foi solicitado CarryOver para o orçamento de 2018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rgbClr val="00B050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905 </a:t>
            </a:r>
            <a:r>
              <a:rPr lang="pt-BR" sz="1600" dirty="0"/>
              <a:t>- [Novo Antifraude RAID-FMS] - Onda 3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</a:t>
            </a:r>
            <a:r>
              <a:rPr lang="pt-BR" sz="1000" dirty="0">
                <a:solidFill>
                  <a:schemeClr val="tx1"/>
                </a:solidFill>
              </a:rPr>
              <a:t>novas regras para Oi Total 2P+Fixa R1 1P+Transact Online</a:t>
            </a:r>
            <a:br>
              <a:rPr lang="pt-BR" sz="1000" dirty="0">
                <a:solidFill>
                  <a:schemeClr val="tx1"/>
                </a:solidFill>
              </a:rPr>
            </a:b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1032529"/>
            <a:ext cx="397751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pós elaboração do DAS, identificado impacto de desenvolvimento e testes em todos os sistemas de CRM e Integração, além do sistema de Crédito, implicando no aumento do escopo inicial previsto na etapa de planejamento do Programa. DAS em reavaliação por Arquitetura/TI/</a:t>
            </a:r>
            <a:r>
              <a:rPr lang="pt-BR" sz="1000" b="1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ara confirmação de impactos até 12/12/17.</a:t>
            </a:r>
            <a:endParaRPr lang="pt-PT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indicou a abertura do Subprojeto das Ondas 4/5/6 até o término da análise da SD pel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de forma a ganharmos sinergia com a Onda 3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2/12 – Término reavaliação DAS e SD para confirmação do planejamento – Resp.: Arquitetura/TI/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2/12 – Término da ME –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RT´s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32" name="Oval 113"/>
          <p:cNvSpPr>
            <a:spLocks noChangeAspect="1"/>
          </p:cNvSpPr>
          <p:nvPr/>
        </p:nvSpPr>
        <p:spPr>
          <a:xfrm rot="5400000">
            <a:off x="6743817" y="203887"/>
            <a:ext cx="106540" cy="178971"/>
          </a:xfrm>
          <a:prstGeom prst="ellipse">
            <a:avLst/>
          </a:prstGeom>
          <a:solidFill>
            <a:schemeClr val="bg1"/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2729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reuniões</a:t>
            </a: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5286327" y="1511499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582613" y="2968160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2191154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582613" y="3675315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6859744" y="3977554"/>
            <a:ext cx="1454150" cy="862301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41630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Organograma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Paulo Lyra/Fabian</a:t>
            </a: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Wagner Velos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pt-BR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rPr>
              <a:t>Luciana (Link)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48" name="Elipse 217"/>
          <p:cNvSpPr/>
          <p:nvPr/>
        </p:nvSpPr>
        <p:spPr>
          <a:xfrm>
            <a:off x="5892885" y="3363854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Elipse 217"/>
          <p:cNvSpPr/>
          <p:nvPr/>
        </p:nvSpPr>
        <p:spPr>
          <a:xfrm>
            <a:off x="5892885" y="375303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217"/>
          <p:cNvSpPr/>
          <p:nvPr/>
        </p:nvSpPr>
        <p:spPr>
          <a:xfrm>
            <a:off x="5892885" y="4590352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Elipse 217"/>
          <p:cNvSpPr/>
          <p:nvPr/>
        </p:nvSpPr>
        <p:spPr>
          <a:xfrm>
            <a:off x="4539269" y="372387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32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Arredondado 3"/>
          <p:cNvSpPr/>
          <p:nvPr/>
        </p:nvSpPr>
        <p:spPr>
          <a:xfrm>
            <a:off x="3703321" y="1200110"/>
            <a:ext cx="1479366" cy="5976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387</a:t>
            </a:r>
          </a:p>
          <a:p>
            <a:pPr algn="ctr"/>
            <a:r>
              <a:rPr lang="pt-BR" sz="900" dirty="0"/>
              <a:t>Projeto: Novo Antifraude RAID-FMS </a:t>
            </a:r>
          </a:p>
        </p:txBody>
      </p:sp>
      <p:sp>
        <p:nvSpPr>
          <p:cNvPr id="5" name="Retângulo Arredondado 4"/>
          <p:cNvSpPr/>
          <p:nvPr/>
        </p:nvSpPr>
        <p:spPr>
          <a:xfrm>
            <a:off x="589050" y="2058083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506</a:t>
            </a:r>
          </a:p>
          <a:p>
            <a:pPr algn="ctr"/>
            <a:r>
              <a:rPr lang="pt-BR" sz="900" dirty="0"/>
              <a:t>Aquisição Infra Novo Antifraude RAID-FMS </a:t>
            </a:r>
          </a:p>
        </p:txBody>
      </p:sp>
      <p:sp>
        <p:nvSpPr>
          <p:cNvPr id="6" name="Retângulo Arredondado 5"/>
          <p:cNvSpPr/>
          <p:nvPr/>
        </p:nvSpPr>
        <p:spPr>
          <a:xfrm>
            <a:off x="2484393" y="2056125"/>
            <a:ext cx="1683481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931</a:t>
            </a:r>
          </a:p>
          <a:p>
            <a:pPr algn="ctr"/>
            <a:r>
              <a:rPr lang="pt-BR" sz="900" dirty="0"/>
              <a:t>Aquisição Infra de Produção do Novo Antifraude RAID-FMS </a:t>
            </a:r>
          </a:p>
        </p:txBody>
      </p:sp>
      <p:sp>
        <p:nvSpPr>
          <p:cNvPr id="8" name="Retângulo Arredondado 7"/>
          <p:cNvSpPr/>
          <p:nvPr/>
        </p:nvSpPr>
        <p:spPr>
          <a:xfrm>
            <a:off x="4891375" y="2056125"/>
            <a:ext cx="1485894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6001</a:t>
            </a:r>
          </a:p>
          <a:p>
            <a:pPr algn="ctr"/>
            <a:r>
              <a:rPr lang="pt-BR" sz="900" dirty="0"/>
              <a:t>Aquisição Infra </a:t>
            </a:r>
            <a:r>
              <a:rPr lang="pt-BR" sz="900" dirty="0" err="1"/>
              <a:t>Hadoop</a:t>
            </a:r>
            <a:r>
              <a:rPr lang="pt-BR" sz="900" dirty="0"/>
              <a:t> para o Novo Antifraude RAID-FMS </a:t>
            </a:r>
          </a:p>
        </p:txBody>
      </p:sp>
      <p:sp>
        <p:nvSpPr>
          <p:cNvPr id="9" name="Retângulo Arredondado 8"/>
          <p:cNvSpPr/>
          <p:nvPr/>
        </p:nvSpPr>
        <p:spPr>
          <a:xfrm>
            <a:off x="7160405" y="204706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87</a:t>
            </a:r>
          </a:p>
          <a:p>
            <a:pPr algn="ctr"/>
            <a:r>
              <a:rPr lang="pt-BR" sz="900" b="1" dirty="0"/>
              <a:t>[Novo Antifraude RAID-FMS] - Onda 1</a:t>
            </a:r>
            <a:endParaRPr lang="pt-BR" sz="9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468617" y="345464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351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sp>
        <p:nvSpPr>
          <p:cNvPr id="11" name="Retângulo Arredondado 10"/>
          <p:cNvSpPr/>
          <p:nvPr/>
        </p:nvSpPr>
        <p:spPr>
          <a:xfrm>
            <a:off x="468617" y="445395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37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cxnSp>
        <p:nvCxnSpPr>
          <p:cNvPr id="13" name="Conector reto 12"/>
          <p:cNvCxnSpPr>
            <a:stCxn id="5" idx="0"/>
            <a:endCxn id="4" idx="2"/>
          </p:cNvCxnSpPr>
          <p:nvPr/>
        </p:nvCxnSpPr>
        <p:spPr>
          <a:xfrm flipV="1">
            <a:off x="1266687" y="1797736"/>
            <a:ext cx="3176317" cy="260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6" idx="0"/>
            <a:endCxn id="4" idx="2"/>
          </p:cNvCxnSpPr>
          <p:nvPr/>
        </p:nvCxnSpPr>
        <p:spPr>
          <a:xfrm flipV="1">
            <a:off x="3326134" y="1797736"/>
            <a:ext cx="1116870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>
            <a:stCxn id="8" idx="0"/>
            <a:endCxn id="4" idx="2"/>
          </p:cNvCxnSpPr>
          <p:nvPr/>
        </p:nvCxnSpPr>
        <p:spPr>
          <a:xfrm flipH="1" flipV="1">
            <a:off x="4443004" y="1797736"/>
            <a:ext cx="1191318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>
            <a:stCxn id="9" idx="0"/>
            <a:endCxn id="4" idx="2"/>
          </p:cNvCxnSpPr>
          <p:nvPr/>
        </p:nvCxnSpPr>
        <p:spPr>
          <a:xfrm flipH="1" flipV="1">
            <a:off x="4443004" y="1797736"/>
            <a:ext cx="3395038" cy="24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1" idx="0"/>
            <a:endCxn id="10" idx="2"/>
          </p:cNvCxnSpPr>
          <p:nvPr/>
        </p:nvCxnSpPr>
        <p:spPr>
          <a:xfrm flipV="1">
            <a:off x="1146254" y="4003288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Arredondado 9"/>
          <p:cNvSpPr/>
          <p:nvPr/>
        </p:nvSpPr>
        <p:spPr>
          <a:xfrm>
            <a:off x="2070427" y="346269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964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</p:txBody>
      </p:sp>
      <p:sp>
        <p:nvSpPr>
          <p:cNvPr id="22" name="Retângulo Arredondado 10"/>
          <p:cNvSpPr/>
          <p:nvPr/>
        </p:nvSpPr>
        <p:spPr>
          <a:xfrm>
            <a:off x="2070427" y="4462004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 smtClean="0"/>
          </a:p>
          <a:p>
            <a:pPr algn="ctr"/>
            <a:endParaRPr lang="pt-BR" sz="900" dirty="0"/>
          </a:p>
          <a:p>
            <a:pPr algn="ctr"/>
            <a:r>
              <a:rPr lang="pt-BR" sz="900" dirty="0" smtClean="0"/>
              <a:t>PRJ00026905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  <a:p>
            <a:pPr algn="ctr"/>
            <a:endParaRPr lang="pt-BR" sz="900" dirty="0" smtClean="0"/>
          </a:p>
          <a:p>
            <a:pPr algn="ctr"/>
            <a:endParaRPr lang="pt-BR" sz="900" dirty="0"/>
          </a:p>
        </p:txBody>
      </p:sp>
      <p:cxnSp>
        <p:nvCxnSpPr>
          <p:cNvPr id="23" name="Conector reto 22"/>
          <p:cNvCxnSpPr>
            <a:stCxn id="22" idx="0"/>
            <a:endCxn id="20" idx="2"/>
          </p:cNvCxnSpPr>
          <p:nvPr/>
        </p:nvCxnSpPr>
        <p:spPr>
          <a:xfrm flipV="1">
            <a:off x="2748063" y="4011336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463078" y="702012"/>
            <a:ext cx="188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OR TI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297320" y="2787645"/>
            <a:ext cx="485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ELO USUÁRIO/RELACIONAMENTO</a:t>
            </a:r>
          </a:p>
        </p:txBody>
      </p:sp>
      <p:sp>
        <p:nvSpPr>
          <p:cNvPr id="25" name="Título 2"/>
          <p:cNvSpPr txBox="1">
            <a:spLocks/>
          </p:cNvSpPr>
          <p:nvPr/>
        </p:nvSpPr>
        <p:spPr>
          <a:xfrm>
            <a:off x="77519" y="-70820"/>
            <a:ext cx="8710521" cy="5292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1600" dirty="0" smtClean="0"/>
              <a:t>Programa Novo antifraude RAID-FMS (PRJ00024387/PRJ25351/PRJ25964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9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253491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vido ao planejamento da disponibilização do ambiente de PRD par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18 e, e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 virtude do projeto BONIFICAÇÃO-Oi, ter suspendido empréstimos de HW, usaremos como contingência para as Ondas 2 e 3, o ambiente de DEV definitivo, a ser disponibilizado em 04/12.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 realizando revisão do </a:t>
            </a:r>
            <a:r>
              <a:rPr lang="pt-BR" sz="1000" b="1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izing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m virtude do SD/DAS da Onda 3 enviado em 01/12 para validação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sta premissa.</a:t>
            </a:r>
            <a:endParaRPr lang="pt-PT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s </a:t>
            </a: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Atenção: </a:t>
            </a:r>
            <a:endParaRPr lang="pt-PT" sz="1000" b="1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da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 verba aprovada e não compromissada até o final de 2017, de acordo com os procedimentos financeiros da Companhia. Para mitigar o risco, foi solicitado CarryOver para o orçamento de 2018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61107" y="711255"/>
            <a:ext cx="2699576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de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290111" y="3501182"/>
            <a:ext cx="2539725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89245"/>
            <a:ext cx="631695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/>
              <a:t>PRJ24506 - Aquisição Infra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</a:t>
            </a:r>
            <a:r>
              <a:rPr lang="pt-BR" sz="1000" dirty="0" smtClean="0">
                <a:solidFill>
                  <a:schemeClr val="tx1"/>
                </a:solidFill>
              </a:rPr>
              <a:t>nificar </a:t>
            </a:r>
            <a:r>
              <a:rPr lang="pt-BR" sz="1000" dirty="0">
                <a:solidFill>
                  <a:schemeClr val="tx1"/>
                </a:solidFill>
              </a:rPr>
              <a:t>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23174" y="980966"/>
            <a:ext cx="397751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MSDX02 disponibilizado na semana passada 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trega servidor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MSDX03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planejad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ara 15/12 (Anterior: 06/12), devido a problemas na alocação dos discos.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trega ambiente de HML planejada para 15/05/18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aquisição de Infra iniciado em 20/11, com conclusão prevista o início de Janeiro, quando será avaliada a possibilidade de adiantamento da entrega do ambiente de HML para Fev/18.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b="1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5/12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06/12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: Liberação do servidor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FMSDX03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0/12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07/12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14/11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– Conclusão DSOL – Resp.: Wagner (RT Infra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19193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vido ao planejamento da disponibilização do ambiente de PRD par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18 e, e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 virtude do projeto BONIFICAÇÃO-Oi, ter suspendido empréstimos de HW, usaremos como contingência para as Ondas 2 e 3, o ambiente de DEV definitivo, a ser disponibilizado em 04/12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da da verba aprovada e não compromissada até o final de 2017, de acordo com os procedimentos financeiros da Companhia. Para mitigar o risco, foi solicitado CarryOver para o orçamento de 2018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Plano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60800" y="78612"/>
            <a:ext cx="6549650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4931 - Aquisição </a:t>
            </a:r>
            <a:r>
              <a:rPr lang="pt-BR" sz="1600" dirty="0"/>
              <a:t>Infra de Produção do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nificar 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989996"/>
            <a:ext cx="39775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lanejamento padrão preliminar enviado em 11/12.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acordo com 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handover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a área de Planejamento para a equipe de Implantação, este Projeto está planejado para conclusão de Jan/19.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45563" y="3736263"/>
            <a:ext cx="1422111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9/01: entrega DSOL</a:t>
            </a:r>
          </a:p>
        </p:txBody>
      </p:sp>
    </p:spTree>
    <p:extLst>
      <p:ext uri="{BB962C8B-B14F-4D97-AF65-F5344CB8AC3E}">
        <p14:creationId xmlns:p14="http://schemas.microsoft.com/office/powerpoint/2010/main" val="1979782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</a:t>
            </a: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Atenção: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da da verba aprovada e não compromissada até o final de 2017, de acordo com os procedimentos financeiros da Companhia. Para mitigar o risco, foi solicitado CarryOver para o orçamento de 2018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1001559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70362" y="98986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881383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89201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69444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86246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5019211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410316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001 -  </a:t>
            </a:r>
            <a:r>
              <a:rPr lang="pt-BR" sz="1600" dirty="0"/>
              <a:t>Aquisição Infra </a:t>
            </a:r>
            <a:r>
              <a:rPr lang="pt-BR" sz="1600" dirty="0" err="1"/>
              <a:t>Hadoop</a:t>
            </a:r>
            <a:r>
              <a:rPr lang="pt-BR" sz="1600" dirty="0"/>
              <a:t> para o Novo Antifraude RAID-FMS </a:t>
            </a:r>
            <a:br>
              <a:rPr lang="pt-BR" sz="1600" dirty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</a:t>
            </a:r>
            <a:r>
              <a:rPr lang="pt-BR" sz="1000" dirty="0" err="1" smtClean="0">
                <a:solidFill>
                  <a:schemeClr val="tx1"/>
                </a:solidFill>
              </a:rPr>
              <a:t>Hadoop</a:t>
            </a:r>
            <a:r>
              <a:rPr lang="pt-BR" sz="1000" dirty="0" smtClean="0">
                <a:solidFill>
                  <a:schemeClr val="tx1"/>
                </a:solidFill>
              </a:rPr>
              <a:t> visando </a:t>
            </a:r>
            <a:r>
              <a:rPr lang="pt-BR" sz="1000" dirty="0">
                <a:solidFill>
                  <a:schemeClr val="tx1"/>
                </a:solidFill>
              </a:rPr>
              <a:t>garantir a entrada em PRD </a:t>
            </a:r>
            <a:r>
              <a:rPr lang="pt-BR" sz="1000" dirty="0" smtClean="0">
                <a:solidFill>
                  <a:schemeClr val="tx1"/>
                </a:solidFill>
              </a:rPr>
              <a:t>do </a:t>
            </a:r>
            <a:r>
              <a:rPr lang="pt-BR" sz="1000" dirty="0">
                <a:solidFill>
                  <a:schemeClr val="tx1"/>
                </a:solidFill>
              </a:rPr>
              <a:t>Programa RAID-FMS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1096327"/>
            <a:ext cx="397751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ício atuação P&amp;I em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4/12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sta Infra faz parte do escopo do Programa 2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72262"/>
            <a:ext cx="8118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ício atuação P&amp;I em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4/12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9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ndente término da negociação contratual entre Oi e WeDo para criação do Pedido de Compra e faturamento da 1ª parcela do Programa, referente à entrega do Blueprint.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D318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361601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87 - [Novo </a:t>
            </a:r>
            <a:r>
              <a:rPr lang="pt-BR" sz="1600" dirty="0"/>
              <a:t>Antifraude RAID-FMS] - Onda </a:t>
            </a:r>
            <a:r>
              <a:rPr lang="pt-BR" sz="1600" dirty="0" smtClean="0"/>
              <a:t>1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89997"/>
            <a:ext cx="39775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lueprin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aprovado pelo GP em 27/11</a:t>
            </a:r>
            <a:endParaRPr lang="pt-BR" sz="1000" strike="sngStrike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m tramitação d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para conclusão do Subprojeto – Previsão: 15/12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5/12: previsão de conclusão do Subprojeto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58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63935"/>
            <a:ext cx="3979804" cy="238102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alt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conhecimento da complexidade/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qtd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 requisitos e regras de negócio por TI, com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pendência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definição previa do usuário até o inicio da etapa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SOL, com impact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ireto no planejamento de entrega da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acordo com 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cronogram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ivulgado pel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na fase de planejamento do Programa (Onda 0), não foi contemplado paralelismo entre as Onda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 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da da verba aprovada e não compromissada até o final de 2017, de acordo com os procedimentos financeiros da Companhia. Para mitigar o risco, foi solicitado CarryOver para o orçamento de 2018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37 </a:t>
            </a:r>
            <a:r>
              <a:rPr lang="pt-BR" sz="1600" dirty="0"/>
              <a:t>- [Novo Antifraude RAID-FMS] - Onda </a:t>
            </a:r>
            <a:r>
              <a:rPr lang="pt-BR" sz="1600" dirty="0" smtClean="0"/>
              <a:t>2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regra para Motor </a:t>
            </a:r>
            <a:r>
              <a:rPr lang="pt-BR" sz="1000" dirty="0">
                <a:solidFill>
                  <a:schemeClr val="tx1"/>
                </a:solidFill>
              </a:rPr>
              <a:t>de regras e TV </a:t>
            </a:r>
            <a:r>
              <a:rPr lang="pt-BR" sz="1000" dirty="0" err="1">
                <a:solidFill>
                  <a:schemeClr val="tx1"/>
                </a:solidFill>
              </a:rPr>
              <a:t>Offline</a:t>
            </a: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103510" y="1101356"/>
            <a:ext cx="397751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strução iniciada em 13/11, com término planejado para 27/12 e 65% de evolução, conforme planejado. 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tatus Detalhado: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argas -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5%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otor -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70% 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ont-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d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0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latórios -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0% 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forme solicitado pelo Cezar no Core Team de 04/12, será liber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cote de Cargas em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3/12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lida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té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8/12, seguindo as premissas do slide anexo.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mportante ressaltar que não se trata de antecipação do UAT. Qualquer crítica ou ponto de ajuste identificado deverá ser consolidado e endereçad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GP/PMO em 19/12 para avaliação. 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3/12 – Liberação Pacote de Cargas para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pré-validação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8/12 – Término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pré-validação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Pacote de Carg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9/12 – Envio dos ajustes/dúvidas consolidadas após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pré-validaçã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do Pacote de Carg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7/12 – Término Construção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2" name="Botão de ação: Informações 1">
            <a:hlinkClick r:id="" action="ppaction://hlinkshowjump?jump=nextslide" highlightClick="1"/>
          </p:cNvPr>
          <p:cNvSpPr/>
          <p:nvPr/>
        </p:nvSpPr>
        <p:spPr>
          <a:xfrm>
            <a:off x="3765755" y="2123769"/>
            <a:ext cx="295608" cy="206477"/>
          </a:xfrm>
          <a:prstGeom prst="actionButtonInformation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1718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 sz="3600" dirty="0"/>
              <a:t>Premissas </a:t>
            </a:r>
            <a:r>
              <a:rPr lang="pt-BR" sz="3600" dirty="0" err="1"/>
              <a:t>pré-validação</a:t>
            </a:r>
            <a:r>
              <a:rPr lang="pt-BR" sz="3600" dirty="0"/>
              <a:t> Pacote Cargas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9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371813" y="1007040"/>
            <a:ext cx="8400380" cy="3830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Para validação dos carregamentos, considerar as seguintes premissas, sob risco de atrasar o cronograma: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Nomenclatura DSOL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Transferência em modo binário para o servidor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Arquivos enviados de acordo com a periodicidade definida no DSOL (diários, mensais,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etc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)</a:t>
            </a:r>
          </a:p>
          <a:p>
            <a:pPr indent="-2286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Arquivos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full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+ incrementais (SIAF)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Importante</a:t>
            </a:r>
          </a:p>
          <a:p>
            <a:pPr algn="just"/>
            <a:r>
              <a:rPr lang="pt-BR" sz="1400" b="1" u="sng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  <a:p>
            <a:pPr marL="457200" marR="0" indent="-2286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•      Ajustes identificados durante a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pré-validação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e avaliados como impeditivos serão tratados como CR (de TI ou Usuário)</a:t>
            </a:r>
          </a:p>
          <a:p>
            <a:pPr marL="457200" marR="0" indent="-2286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•      Qualquer crítica ou ponto de ajuste identificado deverá ser consolidado e endereçado ao GP/PMO em 19/12 para avaliação, de forma a não impactar a atividade de Construção. Relatório final com pontos observados serão analisados pela </a:t>
            </a:r>
            <a:r>
              <a:rPr lang="pt-BR" sz="1400" dirty="0" err="1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 em 19/12</a:t>
            </a:r>
          </a:p>
          <a:p>
            <a:pPr algn="just"/>
            <a:r>
              <a:rPr lang="pt-BR" sz="1400" dirty="0">
                <a:latin typeface="Simplon BP Light" pitchFamily="2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6" name="Botão de ação: Voltar ou Anterior 5">
            <a:hlinkClick r:id="" action="ppaction://hlinkshowjump?jump=previousslide" highlightClick="1"/>
          </p:cNvPr>
          <p:cNvSpPr/>
          <p:nvPr/>
        </p:nvSpPr>
        <p:spPr>
          <a:xfrm>
            <a:off x="8475406" y="4424516"/>
            <a:ext cx="296787" cy="324465"/>
          </a:xfrm>
          <a:prstGeom prst="actionButtonBackPrevious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488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2807</TotalTime>
  <Words>1725</Words>
  <Application>Microsoft Office PowerPoint</Application>
  <PresentationFormat>Apresentação na tela (16:9)</PresentationFormat>
  <Paragraphs>320</Paragraphs>
  <Slides>1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45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grama Novo Antifraude RAID-FMS  Core Team 11/12/17  </vt:lpstr>
      <vt:lpstr>Organograma</vt:lpstr>
      <vt:lpstr>Apresentação do PowerPoint</vt:lpstr>
      <vt:lpstr>PRJ24506 - Aquisição Infra Novo Antifraude RAID-FMS  Escopo: Aquisição de infraestrutura de HW, SW e Serviços visando unificar os processos de Gestão de Fraudes e habilitar as capacidades para a transformação digital na Oi</vt:lpstr>
      <vt:lpstr>PRJ24931 - Aquisição Infra de Produção do Novo Antifraude RAID-FMS  Escopo: Aquisição de infraestrutura de HW, SW e Serviços visando Unificar os processos de Gestão de Fraudes e habilitar as capacidades para a transformação digital na Oi</vt:lpstr>
      <vt:lpstr>PRJ26001 -  Aquisição Infra Hadoop para o Novo Antifraude RAID-FMS  Escopo: Aquisição de infraestrutura de Hadoop visando garantir a entrada em PRD do Programa RAID-FMS</vt:lpstr>
      <vt:lpstr>PRJ25887 - [Novo Antifraude RAID-FMS] - Onda 1 Escopo: Implementar nova Solução Antifraude na Oi a partir da aplicação RAID-FMS</vt:lpstr>
      <vt:lpstr>PRJ25837 - [Novo Antifraude RAID-FMS] - Onda 2 Escopo: Implementar nova regra para Motor de regras e TV Offline </vt:lpstr>
      <vt:lpstr>Premissas pré-validação Pacote Cargas</vt:lpstr>
      <vt:lpstr>PRJ26905 - [Novo Antifraude RAID-FMS] - Onda 3 Escopo: Implementar novas regras para Oi Total 2P+Fixa R1 1P+Transact Online  </vt:lpstr>
      <vt:lpstr>Agenda de reuni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Usuário do Windows</cp:lastModifiedBy>
  <cp:revision>2330</cp:revision>
  <cp:lastPrinted>2017-12-04T17:20:24Z</cp:lastPrinted>
  <dcterms:created xsi:type="dcterms:W3CDTF">2013-05-14T05:19:21Z</dcterms:created>
  <dcterms:modified xsi:type="dcterms:W3CDTF">2017-12-12T12:5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